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259821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52819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cm.co.uk/planner" TargetMode="External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extLst>
              <a:ext uri="{FF2B5EF4-FFF2-40B4-BE49-F238E27FC236}">
                <a16:creationId xmlns:a16="http://schemas.microsoft.com/office/drawing/2014/main" id="{B71D77FB-24C0-400D-AAA2-B5DD496C43A0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43" r="15943"/>
          <a:stretch>
            <a:fillRect/>
          </a:stretch>
        </p:blipFill>
        <p:spPr/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8 August 2021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Henry Golding, Samara Weaving, Ursula </a:t>
            </a:r>
            <a:r>
              <a:rPr lang="en-US" dirty="0" err="1">
                <a:solidFill>
                  <a:schemeClr val="accent6"/>
                </a:solidFill>
              </a:rPr>
              <a:t>Corbero</a:t>
            </a: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Robert Schwentke (</a:t>
            </a:r>
            <a:r>
              <a:rPr lang="en-US" i="1" dirty="0">
                <a:solidFill>
                  <a:schemeClr val="accent6"/>
                </a:solidFill>
              </a:rPr>
              <a:t>The Divergent Series</a:t>
            </a:r>
            <a:r>
              <a:rPr lang="en-US" dirty="0">
                <a:solidFill>
                  <a:schemeClr val="accent6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 err="1">
                <a:solidFill>
                  <a:schemeClr val="accent6"/>
                </a:solidFill>
              </a:rPr>
              <a:t>G.I.Joe</a:t>
            </a:r>
            <a:r>
              <a:rPr lang="en-US" i="1" dirty="0">
                <a:solidFill>
                  <a:schemeClr val="accent6"/>
                </a:solidFill>
              </a:rPr>
              <a:t> Retaliation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This new entry in the G.I. Joe franchise – one of America’s biggest action franchises – stars man of the moment Henry Golding as the series’ enigmatic antihero.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/>
              <a:t>16-34 Adults Index: 139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467k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r>
              <a:rPr lang="en-GB" b="0" dirty="0"/>
              <a:t>A spinoff G.I. Joe film focused on Snake Eyes – plot currently unknown.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Snake ey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Non-stop action from an American icon</a:t>
            </a:r>
            <a:endParaRPr lang="en-GB" sz="1400" dirty="0">
              <a:solidFill>
                <a:schemeClr val="accent6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"/>
              </a:rPr>
              <a:t>Plan your campaig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70465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10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Snake eyes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3 2021</dc:title>
  <dc:creator/>
  <dc:description>Snake eyes</dc:description>
  <cp:lastModifiedBy/>
  <cp:revision>1</cp:revision>
  <dcterms:created xsi:type="dcterms:W3CDTF">2019-03-25T11:13:20Z</dcterms:created>
  <dcterms:modified xsi:type="dcterms:W3CDTF">2021-07-07T10:43:52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3 2021</vt:lpwstr>
  </property>
  <property fmtid="{D5CDD505-2E9C-101B-9397-08002B2CF9AE}" pid="4" name="SlideDescription">
    <vt:lpwstr>Snake eyes</vt:lpwstr>
  </property>
</Properties>
</file>